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1" r:id="rId1"/>
  </p:sldMasterIdLst>
  <p:notesMasterIdLst>
    <p:notesMasterId r:id="rId3"/>
  </p:notesMasterIdLst>
  <p:handoutMasterIdLst>
    <p:handoutMasterId r:id="rId4"/>
  </p:handoutMasterIdLst>
  <p:sldIdLst>
    <p:sldId id="1023" r:id="rId2"/>
  </p:sldIdLst>
  <p:sldSz cx="9144000" cy="6858000" type="screen4x3"/>
  <p:notesSz cx="6808788" cy="9940925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pos="269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1" userDrawn="1">
          <p15:clr>
            <a:srgbClr val="A4A3A4"/>
          </p15:clr>
        </p15:guide>
        <p15:guide id="2" pos="2145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9540" autoAdjust="0"/>
    <p:restoredTop sz="94660"/>
  </p:normalViewPr>
  <p:slideViewPr>
    <p:cSldViewPr snapToGrid="0" showGuides="1">
      <p:cViewPr varScale="1">
        <p:scale>
          <a:sx n="74" d="100"/>
          <a:sy n="74" d="100"/>
        </p:scale>
        <p:origin x="552" y="72"/>
      </p:cViewPr>
      <p:guideLst>
        <p:guide orient="horz" pos="2160"/>
        <p:guide pos="2880"/>
        <p:guide pos="269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-9918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3131"/>
        <p:guide pos="214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6737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17/02/2021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6737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6737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17/02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7763" y="915988"/>
            <a:ext cx="4513262" cy="33861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1596" y="4563048"/>
            <a:ext cx="5945597" cy="4632308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6737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oleObject" Target="../embeddings/oleObject3.bin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4" hidden="1">
            <a:extLst>
              <a:ext uri="{FF2B5EF4-FFF2-40B4-BE49-F238E27FC236}">
                <a16:creationId xmlns:a16="http://schemas.microsoft.com/office/drawing/2014/main" id="{6662603A-E5E5-4962-A7E9-98BDF8B03EB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68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84" hidden="1">
                        <a:extLst>
                          <a:ext uri="{FF2B5EF4-FFF2-40B4-BE49-F238E27FC236}">
                            <a16:creationId xmlns:a16="http://schemas.microsoft.com/office/drawing/2014/main" id="{6662603A-E5E5-4962-A7E9-98BDF8B03EB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CEE6DB0-F588-451A-B056-CBF8C8421A80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7 February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DA5C8E0-CDDA-436A-91F8-C903D03A3F22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60451A36-7B2B-4EF1-857D-3ED175380F69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6" name="Group 7">
            <a:extLst>
              <a:ext uri="{FF2B5EF4-FFF2-40B4-BE49-F238E27FC236}">
                <a16:creationId xmlns:a16="http://schemas.microsoft.com/office/drawing/2014/main" id="{20BC799A-8D74-4531-A751-1F5C1F946759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5632B269-EC55-43A6-952B-13604E47FF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920F7B84-FBA2-4A84-B9DD-0564F18058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934767 w 501"/>
                <a:gd name="T1" fmla="*/ 1703806 h 429"/>
                <a:gd name="T2" fmla="*/ 1825400 w 501"/>
                <a:gd name="T3" fmla="*/ 1561728 h 429"/>
                <a:gd name="T4" fmla="*/ 1784956 w 501"/>
                <a:gd name="T5" fmla="*/ 1508168 h 429"/>
                <a:gd name="T6" fmla="*/ 1552016 w 501"/>
                <a:gd name="T7" fmla="*/ 1397956 h 429"/>
                <a:gd name="T8" fmla="*/ 1250403 w 501"/>
                <a:gd name="T9" fmla="*/ 1703806 h 429"/>
                <a:gd name="T10" fmla="*/ 1552016 w 501"/>
                <a:gd name="T11" fmla="*/ 2003033 h 429"/>
                <a:gd name="T12" fmla="*/ 1784956 w 501"/>
                <a:gd name="T13" fmla="*/ 1894733 h 429"/>
                <a:gd name="T14" fmla="*/ 1825400 w 501"/>
                <a:gd name="T15" fmla="*/ 1840358 h 429"/>
                <a:gd name="T16" fmla="*/ 1934767 w 501"/>
                <a:gd name="T17" fmla="*/ 1703806 h 429"/>
                <a:gd name="T18" fmla="*/ 873751 w 501"/>
                <a:gd name="T19" fmla="*/ 1696871 h 429"/>
                <a:gd name="T20" fmla="*/ 1552016 w 501"/>
                <a:gd name="T21" fmla="*/ 1021694 h 429"/>
                <a:gd name="T22" fmla="*/ 2070120 w 501"/>
                <a:gd name="T23" fmla="*/ 1261629 h 429"/>
                <a:gd name="T24" fmla="*/ 2073950 w 501"/>
                <a:gd name="T25" fmla="*/ 1273104 h 429"/>
                <a:gd name="T26" fmla="*/ 2085697 w 501"/>
                <a:gd name="T27" fmla="*/ 1268242 h 429"/>
                <a:gd name="T28" fmla="*/ 1346131 w 501"/>
                <a:gd name="T29" fmla="*/ 0 h 429"/>
                <a:gd name="T30" fmla="*/ 0 w 501"/>
                <a:gd name="T31" fmla="*/ 2335256 h 429"/>
                <a:gd name="T32" fmla="*/ 1314204 w 501"/>
                <a:gd name="T33" fmla="*/ 2335256 h 429"/>
                <a:gd name="T34" fmla="*/ 1321168 w 501"/>
                <a:gd name="T35" fmla="*/ 2330385 h 429"/>
                <a:gd name="T36" fmla="*/ 1184934 w 501"/>
                <a:gd name="T37" fmla="*/ 2271053 h 429"/>
                <a:gd name="T38" fmla="*/ 873751 w 501"/>
                <a:gd name="T39" fmla="*/ 1696871 h 429"/>
                <a:gd name="T40" fmla="*/ 2672288 w 501"/>
                <a:gd name="T41" fmla="*/ 2323362 h 429"/>
                <a:gd name="T42" fmla="*/ 2533115 w 501"/>
                <a:gd name="T43" fmla="*/ 2286253 h 429"/>
                <a:gd name="T44" fmla="*/ 2181053 w 501"/>
                <a:gd name="T45" fmla="*/ 1996110 h 429"/>
                <a:gd name="T46" fmla="*/ 2046871 w 501"/>
                <a:gd name="T47" fmla="*/ 2166797 h 429"/>
                <a:gd name="T48" fmla="*/ 1793853 w 501"/>
                <a:gd name="T49" fmla="*/ 2330385 h 429"/>
                <a:gd name="T50" fmla="*/ 1793853 w 501"/>
                <a:gd name="T51" fmla="*/ 2335256 h 429"/>
                <a:gd name="T52" fmla="*/ 2699308 w 501"/>
                <a:gd name="T53" fmla="*/ 2335256 h 429"/>
                <a:gd name="T54" fmla="*/ 2699308 w 501"/>
                <a:gd name="T55" fmla="*/ 2330385 h 429"/>
                <a:gd name="T56" fmla="*/ 2672288 w 501"/>
                <a:gd name="T57" fmla="*/ 2323362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" name="Freeform 10">
              <a:extLst>
                <a:ext uri="{FF2B5EF4-FFF2-40B4-BE49-F238E27FC236}">
                  <a16:creationId xmlns:a16="http://schemas.microsoft.com/office/drawing/2014/main" id="{1BE63E81-0CDD-456E-8361-F2A4B06956F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28091 w 937"/>
                <a:gd name="T1" fmla="*/ 734124 h 326"/>
                <a:gd name="T2" fmla="*/ 422676 w 937"/>
                <a:gd name="T3" fmla="*/ 480648 h 326"/>
                <a:gd name="T4" fmla="*/ 677321 w 937"/>
                <a:gd name="T5" fmla="*/ 285812 h 326"/>
                <a:gd name="T6" fmla="*/ 1007505 w 937"/>
                <a:gd name="T7" fmla="*/ 539654 h 326"/>
                <a:gd name="T8" fmla="*/ 1373115 w 937"/>
                <a:gd name="T9" fmla="*/ 539654 h 326"/>
                <a:gd name="T10" fmla="*/ 693655 w 937"/>
                <a:gd name="T11" fmla="*/ 0 h 326"/>
                <a:gd name="T12" fmla="*/ 64206 w 937"/>
                <a:gd name="T13" fmla="*/ 507687 h 326"/>
                <a:gd name="T14" fmla="*/ 564542 w 937"/>
                <a:gd name="T15" fmla="*/ 988028 h 326"/>
                <a:gd name="T16" fmla="*/ 1067888 w 937"/>
                <a:gd name="T17" fmla="*/ 1265304 h 326"/>
                <a:gd name="T18" fmla="*/ 736541 w 937"/>
                <a:gd name="T19" fmla="*/ 1475204 h 326"/>
                <a:gd name="T20" fmla="*/ 362309 w 937"/>
                <a:gd name="T21" fmla="*/ 1162324 h 326"/>
                <a:gd name="T22" fmla="*/ 4867 w 937"/>
                <a:gd name="T23" fmla="*/ 1162324 h 326"/>
                <a:gd name="T24" fmla="*/ 727759 w 937"/>
                <a:gd name="T25" fmla="*/ 1761880 h 326"/>
                <a:gd name="T26" fmla="*/ 1425329 w 937"/>
                <a:gd name="T27" fmla="*/ 1221359 h 326"/>
                <a:gd name="T28" fmla="*/ 928091 w 937"/>
                <a:gd name="T29" fmla="*/ 734124 h 326"/>
                <a:gd name="T30" fmla="*/ 2934320 w 937"/>
                <a:gd name="T31" fmla="*/ 654942 h 326"/>
                <a:gd name="T32" fmla="*/ 2934320 w 937"/>
                <a:gd name="T33" fmla="*/ 654942 h 326"/>
                <a:gd name="T34" fmla="*/ 2567158 w 937"/>
                <a:gd name="T35" fmla="*/ 468786 h 326"/>
                <a:gd name="T36" fmla="*/ 2029739 w 937"/>
                <a:gd name="T37" fmla="*/ 1102406 h 326"/>
                <a:gd name="T38" fmla="*/ 2575851 w 937"/>
                <a:gd name="T39" fmla="*/ 1757350 h 326"/>
                <a:gd name="T40" fmla="*/ 2945983 w 937"/>
                <a:gd name="T41" fmla="*/ 1567361 h 326"/>
                <a:gd name="T42" fmla="*/ 2950031 w 937"/>
                <a:gd name="T43" fmla="*/ 1567361 h 326"/>
                <a:gd name="T44" fmla="*/ 2950031 w 937"/>
                <a:gd name="T45" fmla="*/ 1723303 h 326"/>
                <a:gd name="T46" fmla="*/ 3271590 w 937"/>
                <a:gd name="T47" fmla="*/ 1723303 h 326"/>
                <a:gd name="T48" fmla="*/ 3271590 w 937"/>
                <a:gd name="T49" fmla="*/ 43392 h 326"/>
                <a:gd name="T50" fmla="*/ 2934320 w 937"/>
                <a:gd name="T51" fmla="*/ 43392 h 326"/>
                <a:gd name="T52" fmla="*/ 2934320 w 937"/>
                <a:gd name="T53" fmla="*/ 654942 h 326"/>
                <a:gd name="T54" fmla="*/ 2658487 w 937"/>
                <a:gd name="T55" fmla="*/ 1503493 h 326"/>
                <a:gd name="T56" fmla="*/ 2364921 w 937"/>
                <a:gd name="T57" fmla="*/ 1113859 h 326"/>
                <a:gd name="T58" fmla="*/ 2658487 w 937"/>
                <a:gd name="T59" fmla="*/ 725437 h 326"/>
                <a:gd name="T60" fmla="*/ 2945983 w 937"/>
                <a:gd name="T61" fmla="*/ 1107255 h 326"/>
                <a:gd name="T62" fmla="*/ 2658487 w 937"/>
                <a:gd name="T63" fmla="*/ 1503493 h 326"/>
                <a:gd name="T64" fmla="*/ 4019608 w 937"/>
                <a:gd name="T65" fmla="*/ 468786 h 326"/>
                <a:gd name="T66" fmla="*/ 3395685 w 937"/>
                <a:gd name="T67" fmla="*/ 1113859 h 326"/>
                <a:gd name="T68" fmla="*/ 4019608 w 937"/>
                <a:gd name="T69" fmla="*/ 1757350 h 326"/>
                <a:gd name="T70" fmla="*/ 4589232 w 937"/>
                <a:gd name="T71" fmla="*/ 1345667 h 326"/>
                <a:gd name="T72" fmla="*/ 4295444 w 937"/>
                <a:gd name="T73" fmla="*/ 1345667 h 326"/>
                <a:gd name="T74" fmla="*/ 4031479 w 937"/>
                <a:gd name="T75" fmla="*/ 1503493 h 326"/>
                <a:gd name="T76" fmla="*/ 3726412 w 937"/>
                <a:gd name="T77" fmla="*/ 1194279 h 326"/>
                <a:gd name="T78" fmla="*/ 4610458 w 937"/>
                <a:gd name="T79" fmla="*/ 1194279 h 326"/>
                <a:gd name="T80" fmla="*/ 4019608 w 937"/>
                <a:gd name="T81" fmla="*/ 468786 h 326"/>
                <a:gd name="T82" fmla="*/ 3726412 w 937"/>
                <a:gd name="T83" fmla="*/ 984353 h 326"/>
                <a:gd name="T84" fmla="*/ 4009013 w 937"/>
                <a:gd name="T85" fmla="*/ 725437 h 326"/>
                <a:gd name="T86" fmla="*/ 4275404 w 937"/>
                <a:gd name="T87" fmla="*/ 984353 h 326"/>
                <a:gd name="T88" fmla="*/ 3726412 w 937"/>
                <a:gd name="T89" fmla="*/ 984353 h 326"/>
                <a:gd name="T90" fmla="*/ 4747390 w 937"/>
                <a:gd name="T91" fmla="*/ 1723303 h 326"/>
                <a:gd name="T92" fmla="*/ 5082576 w 937"/>
                <a:gd name="T93" fmla="*/ 1723303 h 326"/>
                <a:gd name="T94" fmla="*/ 5082576 w 937"/>
                <a:gd name="T95" fmla="*/ 43392 h 326"/>
                <a:gd name="T96" fmla="*/ 4747390 w 937"/>
                <a:gd name="T97" fmla="*/ 43392 h 326"/>
                <a:gd name="T98" fmla="*/ 4747390 w 937"/>
                <a:gd name="T99" fmla="*/ 1723303 h 326"/>
                <a:gd name="T100" fmla="*/ 1551513 w 937"/>
                <a:gd name="T101" fmla="*/ 1723303 h 326"/>
                <a:gd name="T102" fmla="*/ 1886973 w 937"/>
                <a:gd name="T103" fmla="*/ 1723303 h 326"/>
                <a:gd name="T104" fmla="*/ 1886973 w 937"/>
                <a:gd name="T105" fmla="*/ 503549 h 326"/>
                <a:gd name="T106" fmla="*/ 1551513 w 937"/>
                <a:gd name="T107" fmla="*/ 503549 h 326"/>
                <a:gd name="T108" fmla="*/ 1551513 w 937"/>
                <a:gd name="T109" fmla="*/ 1723303 h 326"/>
                <a:gd name="T110" fmla="*/ 1551513 w 937"/>
                <a:gd name="T111" fmla="*/ 317923 h 326"/>
                <a:gd name="T112" fmla="*/ 1886973 w 937"/>
                <a:gd name="T113" fmla="*/ 317923 h 326"/>
                <a:gd name="T114" fmla="*/ 1886973 w 937"/>
                <a:gd name="T115" fmla="*/ 43392 h 326"/>
                <a:gd name="T116" fmla="*/ 1551513 w 937"/>
                <a:gd name="T117" fmla="*/ 43392 h 326"/>
                <a:gd name="T118" fmla="*/ 1551513 w 937"/>
                <a:gd name="T119" fmla="*/ 317923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4F425AE-0637-4A5C-8AD8-E3594A43B828}"/>
              </a:ext>
            </a:extLst>
          </p:cNvPr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Objekt 82" hidden="1">
            <a:extLst>
              <a:ext uri="{FF2B5EF4-FFF2-40B4-BE49-F238E27FC236}">
                <a16:creationId xmlns:a16="http://schemas.microsoft.com/office/drawing/2014/main" id="{6CB09F99-8107-4563-8E3E-E25C954CA8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69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11" name="Objekt 82" hidden="1">
                        <a:extLst>
                          <a:ext uri="{FF2B5EF4-FFF2-40B4-BE49-F238E27FC236}">
                            <a16:creationId xmlns:a16="http://schemas.microsoft.com/office/drawing/2014/main" id="{6CB09F99-8107-4563-8E3E-E25C954CA8F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590724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kt 84" hidden="1">
            <a:extLst>
              <a:ext uri="{FF2B5EF4-FFF2-40B4-BE49-F238E27FC236}">
                <a16:creationId xmlns:a16="http://schemas.microsoft.com/office/drawing/2014/main" id="{B8A9B5B2-5923-4D69-AB90-2ABF7B3567C2}"/>
              </a:ext>
            </a:extLst>
          </p:cNvPr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89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3074" name="Objekt 84" hidden="1">
                        <a:extLst>
                          <a:ext uri="{FF2B5EF4-FFF2-40B4-BE49-F238E27FC236}">
                            <a16:creationId xmlns:a16="http://schemas.microsoft.com/office/drawing/2014/main" id="{B8A9B5B2-5923-4D69-AB90-2ABF7B3567C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Titelplatzhalter 1">
            <a:extLst>
              <a:ext uri="{FF2B5EF4-FFF2-40B4-BE49-F238E27FC236}">
                <a16:creationId xmlns:a16="http://schemas.microsoft.com/office/drawing/2014/main" id="{0220E04D-68E9-4630-A6AC-59890C31C4E6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47700" y="334963"/>
            <a:ext cx="799465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fr-FR" noProof="1"/>
              <a:t>Titelmasterformat durch Klicken bearbeiten</a:t>
            </a:r>
            <a:endParaRPr lang="en-GB" altLang="fr-FR"/>
          </a:p>
        </p:txBody>
      </p:sp>
      <p:sp>
        <p:nvSpPr>
          <p:cNvPr id="3076" name="Textplatzhalter 2">
            <a:extLst>
              <a:ext uri="{FF2B5EF4-FFF2-40B4-BE49-F238E27FC236}">
                <a16:creationId xmlns:a16="http://schemas.microsoft.com/office/drawing/2014/main" id="{ACE36F5B-6D5D-465C-BE53-91F27D8F557F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47700" y="1485900"/>
            <a:ext cx="7993063" cy="449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fr-FR" noProof="1"/>
              <a:t>Click to edit text style</a:t>
            </a:r>
          </a:p>
          <a:p>
            <a:pPr lvl="1"/>
            <a:r>
              <a:rPr lang="en-GB" altLang="fr-FR"/>
              <a:t>Second level</a:t>
            </a:r>
          </a:p>
          <a:p>
            <a:pPr lvl="2"/>
            <a:r>
              <a:rPr lang="en-GB" altLang="fr-FR"/>
              <a:t>Third level</a:t>
            </a:r>
          </a:p>
          <a:p>
            <a:pPr lvl="3"/>
            <a:r>
              <a:rPr lang="en-GB" altLang="fr-FR"/>
              <a:t>Forth level</a:t>
            </a:r>
          </a:p>
          <a:p>
            <a:pPr lvl="4"/>
            <a:r>
              <a:rPr lang="en-GB" altLang="fr-FR"/>
              <a:t>Fifth level</a:t>
            </a:r>
          </a:p>
        </p:txBody>
      </p:sp>
      <p:sp>
        <p:nvSpPr>
          <p:cNvPr id="86" name="Footer Placeholder 3">
            <a:extLst>
              <a:ext uri="{FF2B5EF4-FFF2-40B4-BE49-F238E27FC236}">
                <a16:creationId xmlns:a16="http://schemas.microsoft.com/office/drawing/2014/main" id="{49171E63-CC51-4789-BEE3-958295FA299D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7 February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>
            <a:extLst>
              <a:ext uri="{FF2B5EF4-FFF2-40B4-BE49-F238E27FC236}">
                <a16:creationId xmlns:a16="http://schemas.microsoft.com/office/drawing/2014/main" id="{DCBF4421-BC20-4B06-8993-F5D78731DFBF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F9DF0F4F-4826-4E5C-95BF-C558D9228153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3079" name="Group 7">
            <a:extLst>
              <a:ext uri="{FF2B5EF4-FFF2-40B4-BE49-F238E27FC236}">
                <a16:creationId xmlns:a16="http://schemas.microsoft.com/office/drawing/2014/main" id="{E1E3A287-ED78-4D1E-A18A-0BE8D3F1EBB9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3082" name="Freeform 8">
              <a:extLst>
                <a:ext uri="{FF2B5EF4-FFF2-40B4-BE49-F238E27FC236}">
                  <a16:creationId xmlns:a16="http://schemas.microsoft.com/office/drawing/2014/main" id="{0407AA08-BE11-49DC-A916-452F9D8F63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83" name="Freeform 9">
              <a:extLst>
                <a:ext uri="{FF2B5EF4-FFF2-40B4-BE49-F238E27FC236}">
                  <a16:creationId xmlns:a16="http://schemas.microsoft.com/office/drawing/2014/main" id="{27694F50-8847-46CC-AF63-73280E80F2C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934767 w 501"/>
                <a:gd name="T1" fmla="*/ 1703806 h 429"/>
                <a:gd name="T2" fmla="*/ 1825400 w 501"/>
                <a:gd name="T3" fmla="*/ 1561728 h 429"/>
                <a:gd name="T4" fmla="*/ 1784956 w 501"/>
                <a:gd name="T5" fmla="*/ 1508168 h 429"/>
                <a:gd name="T6" fmla="*/ 1552016 w 501"/>
                <a:gd name="T7" fmla="*/ 1397956 h 429"/>
                <a:gd name="T8" fmla="*/ 1250403 w 501"/>
                <a:gd name="T9" fmla="*/ 1703806 h 429"/>
                <a:gd name="T10" fmla="*/ 1552016 w 501"/>
                <a:gd name="T11" fmla="*/ 2003033 h 429"/>
                <a:gd name="T12" fmla="*/ 1784956 w 501"/>
                <a:gd name="T13" fmla="*/ 1894733 h 429"/>
                <a:gd name="T14" fmla="*/ 1825400 w 501"/>
                <a:gd name="T15" fmla="*/ 1840358 h 429"/>
                <a:gd name="T16" fmla="*/ 1934767 w 501"/>
                <a:gd name="T17" fmla="*/ 1703806 h 429"/>
                <a:gd name="T18" fmla="*/ 873751 w 501"/>
                <a:gd name="T19" fmla="*/ 1696871 h 429"/>
                <a:gd name="T20" fmla="*/ 1552016 w 501"/>
                <a:gd name="T21" fmla="*/ 1021694 h 429"/>
                <a:gd name="T22" fmla="*/ 2070120 w 501"/>
                <a:gd name="T23" fmla="*/ 1261629 h 429"/>
                <a:gd name="T24" fmla="*/ 2073950 w 501"/>
                <a:gd name="T25" fmla="*/ 1273104 h 429"/>
                <a:gd name="T26" fmla="*/ 2085697 w 501"/>
                <a:gd name="T27" fmla="*/ 1268242 h 429"/>
                <a:gd name="T28" fmla="*/ 1346131 w 501"/>
                <a:gd name="T29" fmla="*/ 0 h 429"/>
                <a:gd name="T30" fmla="*/ 0 w 501"/>
                <a:gd name="T31" fmla="*/ 2335256 h 429"/>
                <a:gd name="T32" fmla="*/ 1314204 w 501"/>
                <a:gd name="T33" fmla="*/ 2335256 h 429"/>
                <a:gd name="T34" fmla="*/ 1321168 w 501"/>
                <a:gd name="T35" fmla="*/ 2330385 h 429"/>
                <a:gd name="T36" fmla="*/ 1184934 w 501"/>
                <a:gd name="T37" fmla="*/ 2271053 h 429"/>
                <a:gd name="T38" fmla="*/ 873751 w 501"/>
                <a:gd name="T39" fmla="*/ 1696871 h 429"/>
                <a:gd name="T40" fmla="*/ 2672288 w 501"/>
                <a:gd name="T41" fmla="*/ 2323362 h 429"/>
                <a:gd name="T42" fmla="*/ 2533115 w 501"/>
                <a:gd name="T43" fmla="*/ 2286253 h 429"/>
                <a:gd name="T44" fmla="*/ 2181053 w 501"/>
                <a:gd name="T45" fmla="*/ 1996110 h 429"/>
                <a:gd name="T46" fmla="*/ 2046871 w 501"/>
                <a:gd name="T47" fmla="*/ 2166797 h 429"/>
                <a:gd name="T48" fmla="*/ 1793853 w 501"/>
                <a:gd name="T49" fmla="*/ 2330385 h 429"/>
                <a:gd name="T50" fmla="*/ 1793853 w 501"/>
                <a:gd name="T51" fmla="*/ 2335256 h 429"/>
                <a:gd name="T52" fmla="*/ 2699308 w 501"/>
                <a:gd name="T53" fmla="*/ 2335256 h 429"/>
                <a:gd name="T54" fmla="*/ 2699308 w 501"/>
                <a:gd name="T55" fmla="*/ 2330385 h 429"/>
                <a:gd name="T56" fmla="*/ 2672288 w 501"/>
                <a:gd name="T57" fmla="*/ 2323362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084" name="Freeform 10">
              <a:extLst>
                <a:ext uri="{FF2B5EF4-FFF2-40B4-BE49-F238E27FC236}">
                  <a16:creationId xmlns:a16="http://schemas.microsoft.com/office/drawing/2014/main" id="{949AC342-91C7-45CA-A7BE-8C03F49B8DF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28091 w 937"/>
                <a:gd name="T1" fmla="*/ 734124 h 326"/>
                <a:gd name="T2" fmla="*/ 422676 w 937"/>
                <a:gd name="T3" fmla="*/ 480648 h 326"/>
                <a:gd name="T4" fmla="*/ 677321 w 937"/>
                <a:gd name="T5" fmla="*/ 285812 h 326"/>
                <a:gd name="T6" fmla="*/ 1007505 w 937"/>
                <a:gd name="T7" fmla="*/ 539654 h 326"/>
                <a:gd name="T8" fmla="*/ 1373115 w 937"/>
                <a:gd name="T9" fmla="*/ 539654 h 326"/>
                <a:gd name="T10" fmla="*/ 693655 w 937"/>
                <a:gd name="T11" fmla="*/ 0 h 326"/>
                <a:gd name="T12" fmla="*/ 64206 w 937"/>
                <a:gd name="T13" fmla="*/ 507687 h 326"/>
                <a:gd name="T14" fmla="*/ 564542 w 937"/>
                <a:gd name="T15" fmla="*/ 988028 h 326"/>
                <a:gd name="T16" fmla="*/ 1067888 w 937"/>
                <a:gd name="T17" fmla="*/ 1265304 h 326"/>
                <a:gd name="T18" fmla="*/ 736541 w 937"/>
                <a:gd name="T19" fmla="*/ 1475204 h 326"/>
                <a:gd name="T20" fmla="*/ 362309 w 937"/>
                <a:gd name="T21" fmla="*/ 1162324 h 326"/>
                <a:gd name="T22" fmla="*/ 4867 w 937"/>
                <a:gd name="T23" fmla="*/ 1162324 h 326"/>
                <a:gd name="T24" fmla="*/ 727759 w 937"/>
                <a:gd name="T25" fmla="*/ 1761880 h 326"/>
                <a:gd name="T26" fmla="*/ 1425329 w 937"/>
                <a:gd name="T27" fmla="*/ 1221359 h 326"/>
                <a:gd name="T28" fmla="*/ 928091 w 937"/>
                <a:gd name="T29" fmla="*/ 734124 h 326"/>
                <a:gd name="T30" fmla="*/ 2934320 w 937"/>
                <a:gd name="T31" fmla="*/ 654942 h 326"/>
                <a:gd name="T32" fmla="*/ 2934320 w 937"/>
                <a:gd name="T33" fmla="*/ 654942 h 326"/>
                <a:gd name="T34" fmla="*/ 2567158 w 937"/>
                <a:gd name="T35" fmla="*/ 468786 h 326"/>
                <a:gd name="T36" fmla="*/ 2029739 w 937"/>
                <a:gd name="T37" fmla="*/ 1102406 h 326"/>
                <a:gd name="T38" fmla="*/ 2575851 w 937"/>
                <a:gd name="T39" fmla="*/ 1757350 h 326"/>
                <a:gd name="T40" fmla="*/ 2945983 w 937"/>
                <a:gd name="T41" fmla="*/ 1567361 h 326"/>
                <a:gd name="T42" fmla="*/ 2950031 w 937"/>
                <a:gd name="T43" fmla="*/ 1567361 h 326"/>
                <a:gd name="T44" fmla="*/ 2950031 w 937"/>
                <a:gd name="T45" fmla="*/ 1723303 h 326"/>
                <a:gd name="T46" fmla="*/ 3271590 w 937"/>
                <a:gd name="T47" fmla="*/ 1723303 h 326"/>
                <a:gd name="T48" fmla="*/ 3271590 w 937"/>
                <a:gd name="T49" fmla="*/ 43392 h 326"/>
                <a:gd name="T50" fmla="*/ 2934320 w 937"/>
                <a:gd name="T51" fmla="*/ 43392 h 326"/>
                <a:gd name="T52" fmla="*/ 2934320 w 937"/>
                <a:gd name="T53" fmla="*/ 654942 h 326"/>
                <a:gd name="T54" fmla="*/ 2658487 w 937"/>
                <a:gd name="T55" fmla="*/ 1503493 h 326"/>
                <a:gd name="T56" fmla="*/ 2364921 w 937"/>
                <a:gd name="T57" fmla="*/ 1113859 h 326"/>
                <a:gd name="T58" fmla="*/ 2658487 w 937"/>
                <a:gd name="T59" fmla="*/ 725437 h 326"/>
                <a:gd name="T60" fmla="*/ 2945983 w 937"/>
                <a:gd name="T61" fmla="*/ 1107255 h 326"/>
                <a:gd name="T62" fmla="*/ 2658487 w 937"/>
                <a:gd name="T63" fmla="*/ 1503493 h 326"/>
                <a:gd name="T64" fmla="*/ 4019608 w 937"/>
                <a:gd name="T65" fmla="*/ 468786 h 326"/>
                <a:gd name="T66" fmla="*/ 3395685 w 937"/>
                <a:gd name="T67" fmla="*/ 1113859 h 326"/>
                <a:gd name="T68" fmla="*/ 4019608 w 937"/>
                <a:gd name="T69" fmla="*/ 1757350 h 326"/>
                <a:gd name="T70" fmla="*/ 4589232 w 937"/>
                <a:gd name="T71" fmla="*/ 1345667 h 326"/>
                <a:gd name="T72" fmla="*/ 4295444 w 937"/>
                <a:gd name="T73" fmla="*/ 1345667 h 326"/>
                <a:gd name="T74" fmla="*/ 4031479 w 937"/>
                <a:gd name="T75" fmla="*/ 1503493 h 326"/>
                <a:gd name="T76" fmla="*/ 3726412 w 937"/>
                <a:gd name="T77" fmla="*/ 1194279 h 326"/>
                <a:gd name="T78" fmla="*/ 4610458 w 937"/>
                <a:gd name="T79" fmla="*/ 1194279 h 326"/>
                <a:gd name="T80" fmla="*/ 4019608 w 937"/>
                <a:gd name="T81" fmla="*/ 468786 h 326"/>
                <a:gd name="T82" fmla="*/ 3726412 w 937"/>
                <a:gd name="T83" fmla="*/ 984353 h 326"/>
                <a:gd name="T84" fmla="*/ 4009013 w 937"/>
                <a:gd name="T85" fmla="*/ 725437 h 326"/>
                <a:gd name="T86" fmla="*/ 4275404 w 937"/>
                <a:gd name="T87" fmla="*/ 984353 h 326"/>
                <a:gd name="T88" fmla="*/ 3726412 w 937"/>
                <a:gd name="T89" fmla="*/ 984353 h 326"/>
                <a:gd name="T90" fmla="*/ 4747390 w 937"/>
                <a:gd name="T91" fmla="*/ 1723303 h 326"/>
                <a:gd name="T92" fmla="*/ 5082576 w 937"/>
                <a:gd name="T93" fmla="*/ 1723303 h 326"/>
                <a:gd name="T94" fmla="*/ 5082576 w 937"/>
                <a:gd name="T95" fmla="*/ 43392 h 326"/>
                <a:gd name="T96" fmla="*/ 4747390 w 937"/>
                <a:gd name="T97" fmla="*/ 43392 h 326"/>
                <a:gd name="T98" fmla="*/ 4747390 w 937"/>
                <a:gd name="T99" fmla="*/ 1723303 h 326"/>
                <a:gd name="T100" fmla="*/ 1551513 w 937"/>
                <a:gd name="T101" fmla="*/ 1723303 h 326"/>
                <a:gd name="T102" fmla="*/ 1886973 w 937"/>
                <a:gd name="T103" fmla="*/ 1723303 h 326"/>
                <a:gd name="T104" fmla="*/ 1886973 w 937"/>
                <a:gd name="T105" fmla="*/ 503549 h 326"/>
                <a:gd name="T106" fmla="*/ 1551513 w 937"/>
                <a:gd name="T107" fmla="*/ 503549 h 326"/>
                <a:gd name="T108" fmla="*/ 1551513 w 937"/>
                <a:gd name="T109" fmla="*/ 1723303 h 326"/>
                <a:gd name="T110" fmla="*/ 1551513 w 937"/>
                <a:gd name="T111" fmla="*/ 317923 h 326"/>
                <a:gd name="T112" fmla="*/ 1886973 w 937"/>
                <a:gd name="T113" fmla="*/ 317923 h 326"/>
                <a:gd name="T114" fmla="*/ 1886973 w 937"/>
                <a:gd name="T115" fmla="*/ 43392 h 326"/>
                <a:gd name="T116" fmla="*/ 1551513 w 937"/>
                <a:gd name="T117" fmla="*/ 43392 h 326"/>
                <a:gd name="T118" fmla="*/ 1551513 w 937"/>
                <a:gd name="T119" fmla="*/ 317923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5F24772F-1776-41B6-B35F-9D0063217E83}"/>
              </a:ext>
            </a:extLst>
          </p:cNvPr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7A6CB49C-CA36-47C2-A41D-64EE3872938E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187430050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3" r:id="rId1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 kern="1200">
          <a:solidFill>
            <a:srgbClr val="E64B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9pPr>
    </p:titleStyle>
    <p:bodyStyle>
      <a:lvl1pPr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5058" name="Group 2">
            <a:extLst>
              <a:ext uri="{FF2B5EF4-FFF2-40B4-BE49-F238E27FC236}">
                <a16:creationId xmlns:a16="http://schemas.microsoft.com/office/drawing/2014/main" id="{2FA69691-6E56-44B3-A3F7-5334157DE700}"/>
              </a:ext>
            </a:extLst>
          </p:cNvPr>
          <p:cNvGrpSpPr>
            <a:grpSpLocks/>
          </p:cNvGrpSpPr>
          <p:nvPr/>
        </p:nvGrpSpPr>
        <p:grpSpPr bwMode="auto">
          <a:xfrm>
            <a:off x="652463" y="1681163"/>
            <a:ext cx="7996237" cy="4225925"/>
            <a:chOff x="650875" y="1906363"/>
            <a:chExt cx="7991475" cy="4042393"/>
          </a:xfrm>
        </p:grpSpPr>
        <p:sp>
          <p:nvSpPr>
            <p:cNvPr id="14" name="Rechteck 3">
              <a:extLst>
                <a:ext uri="{FF2B5EF4-FFF2-40B4-BE49-F238E27FC236}">
                  <a16:creationId xmlns:a16="http://schemas.microsoft.com/office/drawing/2014/main" id="{17ED6647-1D43-4F26-9208-B8F20993AD05}"/>
                </a:ext>
              </a:extLst>
            </p:cNvPr>
            <p:cNvSpPr/>
            <p:nvPr/>
          </p:nvSpPr>
          <p:spPr>
            <a:xfrm>
              <a:off x="650875" y="1906363"/>
              <a:ext cx="3888645" cy="388750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 anchor="ctr"/>
            <a:lstStyle/>
            <a:p>
              <a:pPr defTabSz="862049" eaLnBrk="1" fontAlgn="auto" hangingPunct="1">
                <a:spcBef>
                  <a:spcPts val="283"/>
                </a:spcBef>
                <a:spcAft>
                  <a:spcPts val="0"/>
                </a:spcAft>
                <a:buClr>
                  <a:srgbClr val="FF6600"/>
                </a:buClr>
                <a:defRPr/>
              </a:pPr>
              <a:r>
                <a:rPr lang="en-GB" sz="1400" b="1" dirty="0">
                  <a:solidFill>
                    <a:srgbClr val="FFFFFF"/>
                  </a:solidFill>
                  <a:ea typeface="MS PGothic" pitchFamily="34" charset="-128"/>
                </a:rPr>
                <a:t>VALUE AND BENEFITS</a:t>
              </a:r>
            </a:p>
          </p:txBody>
        </p:sp>
        <p:sp>
          <p:nvSpPr>
            <p:cNvPr id="17" name="Rechteck 4">
              <a:extLst>
                <a:ext uri="{FF2B5EF4-FFF2-40B4-BE49-F238E27FC236}">
                  <a16:creationId xmlns:a16="http://schemas.microsoft.com/office/drawing/2014/main" id="{047B57BA-8F50-4693-9A54-489E8CA646E6}"/>
                </a:ext>
              </a:extLst>
            </p:cNvPr>
            <p:cNvSpPr>
              <a:spLocks/>
            </p:cNvSpPr>
            <p:nvPr/>
          </p:nvSpPr>
          <p:spPr>
            <a:xfrm>
              <a:off x="650875" y="2295113"/>
              <a:ext cx="3888645" cy="365364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/>
            <a:lstStyle/>
            <a:p>
              <a:pPr marL="323268" indent="-323268" defTabSz="862049">
                <a:spcBef>
                  <a:spcPct val="20000"/>
                </a:spcBef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fr-FR" sz="1131" dirty="0">
                <a:solidFill>
                  <a:srgbClr val="000000"/>
                </a:solidFill>
              </a:endParaRPr>
            </a:p>
          </p:txBody>
        </p:sp>
        <p:sp>
          <p:nvSpPr>
            <p:cNvPr id="18" name="Rechteck 11">
              <a:extLst>
                <a:ext uri="{FF2B5EF4-FFF2-40B4-BE49-F238E27FC236}">
                  <a16:creationId xmlns:a16="http://schemas.microsoft.com/office/drawing/2014/main" id="{3EE4DACF-5B69-4CE5-82ED-68284FFEC58A}"/>
                </a:ext>
              </a:extLst>
            </p:cNvPr>
            <p:cNvSpPr/>
            <p:nvPr/>
          </p:nvSpPr>
          <p:spPr>
            <a:xfrm>
              <a:off x="4753705" y="1906363"/>
              <a:ext cx="3888645" cy="388750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 anchor="ctr"/>
            <a:lstStyle/>
            <a:p>
              <a:pPr marL="179593" indent="-179593" defTabSz="862049" eaLnBrk="1" hangingPunct="1">
                <a:spcBef>
                  <a:spcPts val="283"/>
                </a:spcBef>
                <a:spcAft>
                  <a:spcPts val="0"/>
                </a:spcAft>
                <a:buClr>
                  <a:srgbClr val="E64B00"/>
                </a:buClr>
                <a:defRPr/>
              </a:pPr>
              <a:r>
                <a:rPr lang="de-CH" altLang="de-DE" sz="1400" b="1" noProof="1">
                  <a:solidFill>
                    <a:srgbClr val="FFFFFF"/>
                  </a:solidFill>
                  <a:cs typeface="Arial" charset="0"/>
                </a:rPr>
                <a:t>DESCRIPTION</a:t>
              </a:r>
              <a:endParaRPr lang="en-GB" altLang="de-DE" sz="1400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19" name="Rechteck 12">
              <a:extLst>
                <a:ext uri="{FF2B5EF4-FFF2-40B4-BE49-F238E27FC236}">
                  <a16:creationId xmlns:a16="http://schemas.microsoft.com/office/drawing/2014/main" id="{F6D26BB8-C7F0-4B7D-81EA-8F97DDCB327E}"/>
                </a:ext>
              </a:extLst>
            </p:cNvPr>
            <p:cNvSpPr>
              <a:spLocks/>
            </p:cNvSpPr>
            <p:nvPr/>
          </p:nvSpPr>
          <p:spPr>
            <a:xfrm>
              <a:off x="4753705" y="2295113"/>
              <a:ext cx="3888645" cy="365364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22" tIns="67881" rIns="101822" bIns="67881"/>
            <a:lstStyle/>
            <a:p>
              <a:pPr marL="323268" indent="-323268" defTabSz="862049" eaLnBrk="1" hangingPunct="1"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zh-CN" sz="1131" dirty="0">
                <a:solidFill>
                  <a:srgbClr val="000000"/>
                </a:solidFill>
                <a:ea typeface="宋体" charset="-122"/>
              </a:endParaRPr>
            </a:p>
          </p:txBody>
        </p:sp>
      </p:grpSp>
      <p:sp>
        <p:nvSpPr>
          <p:cNvPr id="7" name="Titre 6">
            <a:extLst>
              <a:ext uri="{FF2B5EF4-FFF2-40B4-BE49-F238E27FC236}">
                <a16:creationId xmlns:a16="http://schemas.microsoft.com/office/drawing/2014/main" id="{874A8A9D-16EB-4309-A119-D45EFB47A7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700" y="334963"/>
            <a:ext cx="7993063" cy="923925"/>
          </a:xfrm>
        </p:spPr>
        <p:txBody>
          <a:bodyPr/>
          <a:lstStyle/>
          <a:p>
            <a:pPr>
              <a:defRPr/>
            </a:pPr>
            <a:r>
              <a:rPr lang="en-US" dirty="0"/>
              <a:t>Increase equipment efficiency and secure product quality</a:t>
            </a:r>
            <a:endParaRPr lang="fr-FR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669B8448-208F-4B41-99F1-1B5A9FD7BE8C}"/>
              </a:ext>
            </a:extLst>
          </p:cNvPr>
          <p:cNvSpPr txBox="1">
            <a:spLocks/>
          </p:cNvSpPr>
          <p:nvPr/>
        </p:nvSpPr>
        <p:spPr>
          <a:xfrm>
            <a:off x="646113" y="5943600"/>
            <a:ext cx="7972425" cy="419100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fontAlgn="auto">
              <a:spcAft>
                <a:spcPts val="0"/>
              </a:spcAft>
              <a:defRPr/>
            </a:pPr>
            <a:r>
              <a:rPr sz="800" kern="0">
                <a:solidFill>
                  <a:srgbClr val="000000"/>
                </a:solidFill>
              </a:rPr>
              <a:t>Value: </a:t>
            </a:r>
            <a:r>
              <a:rPr lang="fr-FR" sz="800" kern="0">
                <a:solidFill>
                  <a:srgbClr val="000000"/>
                </a:solidFill>
              </a:rPr>
              <a:t>Efficiency, Product quality</a:t>
            </a:r>
            <a:endParaRPr sz="800" kern="0">
              <a:solidFill>
                <a:srgbClr val="000000"/>
              </a:solidFill>
            </a:endParaRPr>
          </a:p>
          <a:p>
            <a:pPr fontAlgn="auto">
              <a:spcAft>
                <a:spcPts val="0"/>
              </a:spcAft>
              <a:defRPr/>
            </a:pPr>
            <a:r>
              <a:rPr sz="800" kern="0">
                <a:solidFill>
                  <a:srgbClr val="000000"/>
                </a:solidFill>
              </a:rPr>
              <a:t>Equipment: Capfeeder GEBO Aidlin &amp; Aidlin CR</a:t>
            </a:r>
          </a:p>
          <a:p>
            <a:pPr fontAlgn="auto">
              <a:spcAft>
                <a:spcPts val="0"/>
              </a:spcAft>
              <a:defRPr/>
            </a:pPr>
            <a:r>
              <a:rPr sz="800" kern="0">
                <a:solidFill>
                  <a:srgbClr val="000000"/>
                </a:solidFill>
              </a:rPr>
              <a:t>Catalogue code: CAP013</a:t>
            </a:r>
          </a:p>
        </p:txBody>
      </p:sp>
      <p:sp>
        <p:nvSpPr>
          <p:cNvPr id="20" name="Rettangolo 11">
            <a:extLst>
              <a:ext uri="{FF2B5EF4-FFF2-40B4-BE49-F238E27FC236}">
                <a16:creationId xmlns:a16="http://schemas.microsoft.com/office/drawing/2014/main" id="{C0CF5502-49D7-4B02-9212-84E6BE1157BE}"/>
              </a:ext>
            </a:extLst>
          </p:cNvPr>
          <p:cNvSpPr/>
          <p:nvPr/>
        </p:nvSpPr>
        <p:spPr>
          <a:xfrm>
            <a:off x="647700" y="2071688"/>
            <a:ext cx="3895725" cy="3631763"/>
          </a:xfrm>
          <a:prstGeom prst="rect">
            <a:avLst/>
          </a:prstGeom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defRPr/>
            </a:pPr>
            <a:endParaRPr lang="en-US" sz="1000" b="1" dirty="0">
              <a:solidFill>
                <a:srgbClr val="000000"/>
              </a:solidFill>
              <a:latin typeface="Arial"/>
            </a:endParaRPr>
          </a:p>
          <a:p>
            <a:pPr>
              <a:buClr>
                <a:srgbClr val="E64B00"/>
              </a:buClr>
              <a:defRPr/>
            </a:pPr>
            <a:r>
              <a:rPr lang="en-GB" sz="1000" b="1" dirty="0">
                <a:solidFill>
                  <a:srgbClr val="000000"/>
                </a:solidFill>
              </a:rPr>
              <a:t>Performance</a:t>
            </a:r>
          </a:p>
          <a:p>
            <a:pPr marL="180000" indent="-180000"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en-GB" sz="1000" dirty="0">
                <a:solidFill>
                  <a:srgbClr val="000000"/>
                </a:solidFill>
              </a:rPr>
              <a:t>Efficiency achieved &gt; 99,5% </a:t>
            </a:r>
          </a:p>
          <a:p>
            <a:pPr marL="180000" indent="-180000"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en-GB" sz="1000" dirty="0">
                <a:solidFill>
                  <a:srgbClr val="000000"/>
                </a:solidFill>
              </a:rPr>
              <a:t>Optimized MTTR </a:t>
            </a:r>
          </a:p>
          <a:p>
            <a:pPr marL="180000" indent="-180000"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en-GB" sz="1000" dirty="0">
                <a:solidFill>
                  <a:srgbClr val="000000"/>
                </a:solidFill>
              </a:rPr>
              <a:t>Caps rejection w/o stopping caps flow</a:t>
            </a:r>
          </a:p>
          <a:p>
            <a:pPr marL="180000" indent="-180000"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en-GB" sz="1000" dirty="0">
                <a:solidFill>
                  <a:srgbClr val="000000"/>
                </a:solidFill>
              </a:rPr>
              <a:t>Smart HMI: maintenance pages, EIT interface, Vision pages</a:t>
            </a:r>
          </a:p>
          <a:p>
            <a:pPr>
              <a:buClr>
                <a:srgbClr val="E64B00"/>
              </a:buClr>
              <a:defRPr/>
            </a:pPr>
            <a:endParaRPr lang="en-GB" sz="1000" b="1" dirty="0">
              <a:solidFill>
                <a:srgbClr val="000000"/>
              </a:solidFill>
            </a:endParaRPr>
          </a:p>
          <a:p>
            <a:pPr>
              <a:buClr>
                <a:srgbClr val="E64B00"/>
              </a:buClr>
              <a:defRPr/>
            </a:pPr>
            <a:r>
              <a:rPr lang="en-GB" sz="1000" b="1" dirty="0">
                <a:solidFill>
                  <a:srgbClr val="000000"/>
                </a:solidFill>
              </a:rPr>
              <a:t>Product quality</a:t>
            </a:r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en-GB" sz="1000" b="1" dirty="0"/>
              <a:t>Vision integrated </a:t>
            </a:r>
            <a:r>
              <a:rPr lang="en-GB" sz="1000" dirty="0"/>
              <a:t>preserving product quality &amp; </a:t>
            </a:r>
            <a:r>
              <a:rPr lang="en-GB" sz="1000" b="1" dirty="0"/>
              <a:t>complete</a:t>
            </a:r>
            <a:r>
              <a:rPr lang="en-GB" sz="1000" dirty="0"/>
              <a:t> </a:t>
            </a:r>
            <a:r>
              <a:rPr lang="en-GB" sz="1000" b="1" dirty="0"/>
              <a:t>line performance</a:t>
            </a:r>
          </a:p>
          <a:p>
            <a:pPr marL="180000" indent="-180000"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en-GB" sz="1000" dirty="0">
                <a:solidFill>
                  <a:srgbClr val="000000"/>
                </a:solidFill>
                <a:latin typeface="Arial"/>
              </a:rPr>
              <a:t>Pressure free elevation</a:t>
            </a:r>
            <a:endParaRPr lang="en-GB" sz="1000" dirty="0">
              <a:solidFill>
                <a:srgbClr val="000000"/>
              </a:solidFill>
            </a:endParaRPr>
          </a:p>
          <a:p>
            <a:pPr marL="180000" indent="-180000"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endParaRPr lang="en-GB" sz="1000" dirty="0">
              <a:solidFill>
                <a:srgbClr val="000000"/>
              </a:solidFill>
            </a:endParaRPr>
          </a:p>
          <a:p>
            <a:pPr>
              <a:buClr>
                <a:srgbClr val="E64B00"/>
              </a:buClr>
              <a:defRPr/>
            </a:pPr>
            <a:r>
              <a:rPr lang="en-GB" sz="1000" b="1" dirty="0">
                <a:solidFill>
                  <a:srgbClr val="000000"/>
                </a:solidFill>
              </a:rPr>
              <a:t>Ergonomics</a:t>
            </a:r>
          </a:p>
          <a:p>
            <a:pPr marL="180000" indent="-180000" eaLnBrk="1" fontAlgn="auto" hangingPunct="1"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en-GB" sz="1000" dirty="0">
                <a:solidFill>
                  <a:srgbClr val="000000"/>
                </a:solidFill>
                <a:latin typeface="Arial"/>
              </a:rPr>
              <a:t>Full access to all parts for maintenance &amp; cleaning</a:t>
            </a:r>
          </a:p>
          <a:p>
            <a:pPr marL="180000" indent="-180000" eaLnBrk="1" fontAlgn="auto" hangingPunct="1"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en-GB" sz="1000" dirty="0">
                <a:solidFill>
                  <a:srgbClr val="000000"/>
                </a:solidFill>
                <a:latin typeface="Arial"/>
              </a:rPr>
              <a:t>Optimized MTTR </a:t>
            </a:r>
          </a:p>
          <a:p>
            <a:pPr>
              <a:buClr>
                <a:srgbClr val="E64B00"/>
              </a:buClr>
              <a:defRPr/>
            </a:pPr>
            <a:endParaRPr lang="en-GB" sz="1000" b="1" dirty="0">
              <a:solidFill>
                <a:srgbClr val="000000"/>
              </a:solidFill>
            </a:endParaRPr>
          </a:p>
          <a:p>
            <a:pPr>
              <a:buClr>
                <a:srgbClr val="E64B00"/>
              </a:buClr>
              <a:defRPr/>
            </a:pPr>
            <a:r>
              <a:rPr lang="en-GB" sz="1000" b="1" dirty="0">
                <a:solidFill>
                  <a:srgbClr val="000000"/>
                </a:solidFill>
              </a:rPr>
              <a:t>Easy integration</a:t>
            </a:r>
          </a:p>
          <a:p>
            <a:pPr marL="180000" indent="-180000" eaLnBrk="1" fontAlgn="auto" hangingPunct="1"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en-GB" sz="1000" dirty="0">
                <a:solidFill>
                  <a:srgbClr val="000000"/>
                </a:solidFill>
                <a:latin typeface="Arial"/>
              </a:rPr>
              <a:t>High compact device</a:t>
            </a:r>
          </a:p>
          <a:p>
            <a:pPr marL="180000" indent="-180000" eaLnBrk="1" fontAlgn="auto" hangingPunct="1"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en-GB" sz="1000" dirty="0">
                <a:solidFill>
                  <a:srgbClr val="000000"/>
                </a:solidFill>
                <a:latin typeface="Arial"/>
              </a:rPr>
              <a:t>Variable heights</a:t>
            </a:r>
          </a:p>
          <a:p>
            <a:pPr marL="180000" indent="-180000" eaLnBrk="1" fontAlgn="auto" hangingPunct="1"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en-GB" sz="1000" dirty="0">
                <a:solidFill>
                  <a:srgbClr val="000000"/>
                </a:solidFill>
                <a:latin typeface="Arial"/>
              </a:rPr>
              <a:t>Plus-and-play, fully interconnected device</a:t>
            </a:r>
          </a:p>
          <a:p>
            <a:pPr marL="180000" indent="-180000" eaLnBrk="1" fontAlgn="auto" hangingPunct="1"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endParaRPr lang="en-US" sz="1000" dirty="0">
              <a:solidFill>
                <a:srgbClr val="000000"/>
              </a:solidFill>
              <a:latin typeface="Arial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defRPr/>
            </a:pPr>
            <a:r>
              <a:rPr lang="en-GB" sz="1000" b="1" dirty="0">
                <a:solidFill>
                  <a:srgbClr val="000000"/>
                </a:solidFill>
                <a:latin typeface="Arial"/>
              </a:rPr>
              <a:t>Estimate ROI &lt; 3 years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defRPr/>
            </a:pPr>
            <a:endParaRPr lang="en-US" sz="1000" b="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1" name="Rettangolo 11">
            <a:extLst>
              <a:ext uri="{FF2B5EF4-FFF2-40B4-BE49-F238E27FC236}">
                <a16:creationId xmlns:a16="http://schemas.microsoft.com/office/drawing/2014/main" id="{34BE8169-7803-43BE-9802-0670554A92A4}"/>
              </a:ext>
            </a:extLst>
          </p:cNvPr>
          <p:cNvSpPr/>
          <p:nvPr/>
        </p:nvSpPr>
        <p:spPr>
          <a:xfrm>
            <a:off x="4743450" y="2071688"/>
            <a:ext cx="3897313" cy="2216150"/>
          </a:xfrm>
          <a:prstGeom prst="rect">
            <a:avLst/>
          </a:prstGeom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defRPr/>
            </a:pPr>
            <a:endParaRPr lang="en-US" sz="1000" b="1" dirty="0">
              <a:solidFill>
                <a:srgbClr val="000000"/>
              </a:solidFill>
              <a:latin typeface="Arial"/>
            </a:endParaRPr>
          </a:p>
          <a:p>
            <a:pPr marL="171450" indent="-171450"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en-GB" sz="1200" dirty="0">
                <a:solidFill>
                  <a:srgbClr val="000000"/>
                </a:solidFill>
              </a:rPr>
              <a:t>Power consumption &lt; 1,5 kW</a:t>
            </a:r>
          </a:p>
          <a:p>
            <a:pPr marL="171450" indent="-171450"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en-GB" sz="1200" dirty="0">
                <a:solidFill>
                  <a:srgbClr val="000000"/>
                </a:solidFill>
              </a:rPr>
              <a:t>Noise emission &lt;80 dB</a:t>
            </a:r>
          </a:p>
          <a:p>
            <a:pPr marL="171450" indent="-171450"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en-GB" sz="1200" dirty="0">
                <a:solidFill>
                  <a:srgbClr val="000000"/>
                </a:solidFill>
              </a:rPr>
              <a:t>PLC embedded &amp; HMI 12”</a:t>
            </a:r>
          </a:p>
          <a:p>
            <a:pPr marL="171450" indent="-171450"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en-GB" sz="1200" dirty="0">
                <a:solidFill>
                  <a:srgbClr val="000000"/>
                </a:solidFill>
              </a:rPr>
              <a:t>Height &lt; 2,1mt / remain up for transportation</a:t>
            </a:r>
          </a:p>
          <a:p>
            <a:pPr marL="628650" lvl="1" indent="-171450"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en-GB" sz="1200" dirty="0">
                <a:solidFill>
                  <a:srgbClr val="000000"/>
                </a:solidFill>
              </a:rPr>
              <a:t>Elevation up to 6,2 </a:t>
            </a:r>
            <a:r>
              <a:rPr lang="en-GB" sz="1200" dirty="0" err="1">
                <a:solidFill>
                  <a:srgbClr val="000000"/>
                </a:solidFill>
              </a:rPr>
              <a:t>mt</a:t>
            </a:r>
            <a:endParaRPr lang="en-GB" sz="1200" dirty="0">
              <a:solidFill>
                <a:srgbClr val="000000"/>
              </a:solidFill>
            </a:endParaRPr>
          </a:p>
          <a:p>
            <a:pPr marL="171450" indent="-171450"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en-GB" sz="1200" dirty="0">
                <a:solidFill>
                  <a:srgbClr val="000000"/>
                </a:solidFill>
              </a:rPr>
              <a:t>Vision Camera integrated</a:t>
            </a:r>
          </a:p>
          <a:p>
            <a:pPr marL="628650" lvl="1" indent="-171450"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en-GB" sz="1200" dirty="0">
                <a:solidFill>
                  <a:srgbClr val="000000"/>
                </a:solidFill>
              </a:rPr>
              <a:t>L1: upside down &amp; roundness &amp; colour (option)</a:t>
            </a:r>
          </a:p>
          <a:p>
            <a:pPr marL="628650" lvl="1" indent="-171450"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en-GB" sz="1200" dirty="0">
                <a:solidFill>
                  <a:srgbClr val="000000"/>
                </a:solidFill>
              </a:rPr>
              <a:t>L2: +sealing ring integrity</a:t>
            </a:r>
          </a:p>
          <a:p>
            <a:pPr marL="180000" indent="-180000" eaLnBrk="1" fontAlgn="auto" hangingPunct="1"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endParaRPr lang="en-US" sz="1000" dirty="0">
              <a:solidFill>
                <a:srgbClr val="000000"/>
              </a:solidFill>
              <a:latin typeface="Arial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defRPr/>
            </a:pPr>
            <a:endParaRPr lang="en-US" sz="1000" b="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063" name="Text Placeholder 2">
            <a:extLst>
              <a:ext uri="{FF2B5EF4-FFF2-40B4-BE49-F238E27FC236}">
                <a16:creationId xmlns:a16="http://schemas.microsoft.com/office/drawing/2014/main" id="{0612FAF6-0D3C-411F-8B9A-F10EBC7E1C19}"/>
              </a:ext>
            </a:extLst>
          </p:cNvPr>
          <p:cNvSpPr txBox="1">
            <a:spLocks/>
          </p:cNvSpPr>
          <p:nvPr/>
        </p:nvSpPr>
        <p:spPr bwMode="auto">
          <a:xfrm>
            <a:off x="646113" y="1392238"/>
            <a:ext cx="7539037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77800" indent="-177800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9388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4988" indent="-177800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9388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9388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9388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9388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9388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it-IT" altLang="fr-FR">
                <a:solidFill>
                  <a:srgbClr val="000000"/>
                </a:solidFill>
                <a:cs typeface="Calibri" panose="020F0502020204030204" pitchFamily="34" charset="0"/>
              </a:rPr>
              <a:t>Closure Vision Control </a:t>
            </a:r>
            <a:endParaRPr lang="fr-FR" altLang="fr-FR">
              <a:solidFill>
                <a:srgbClr val="000000"/>
              </a:solidFill>
            </a:endParaRPr>
          </a:p>
        </p:txBody>
      </p:sp>
      <p:pic>
        <p:nvPicPr>
          <p:cNvPr id="45064" name="Image 30">
            <a:extLst>
              <a:ext uri="{FF2B5EF4-FFF2-40B4-BE49-F238E27FC236}">
                <a16:creationId xmlns:a16="http://schemas.microsoft.com/office/drawing/2014/main" id="{47BFA530-9347-4BD3-92B7-28218E5648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6013" y="981075"/>
            <a:ext cx="815975" cy="465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5065" name="ZoneTexte 31">
            <a:extLst>
              <a:ext uri="{FF2B5EF4-FFF2-40B4-BE49-F238E27FC236}">
                <a16:creationId xmlns:a16="http://schemas.microsoft.com/office/drawing/2014/main" id="{47B19D13-E957-45E3-AEAF-766FFE300FF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81838" y="1446213"/>
            <a:ext cx="1584325" cy="185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fr-FR" sz="1200" b="1">
                <a:solidFill>
                  <a:srgbClr val="FF0000"/>
                </a:solidFill>
              </a:rPr>
              <a:t>Tethered caps Ready!</a:t>
            </a:r>
          </a:p>
        </p:txBody>
      </p:sp>
      <p:grpSp>
        <p:nvGrpSpPr>
          <p:cNvPr id="45066" name="Groupe 27">
            <a:extLst>
              <a:ext uri="{FF2B5EF4-FFF2-40B4-BE49-F238E27FC236}">
                <a16:creationId xmlns:a16="http://schemas.microsoft.com/office/drawing/2014/main" id="{88287183-1BC9-4A81-AFAF-85C06DBD66C6}"/>
              </a:ext>
            </a:extLst>
          </p:cNvPr>
          <p:cNvGrpSpPr>
            <a:grpSpLocks noChangeAspect="1"/>
          </p:cNvGrpSpPr>
          <p:nvPr/>
        </p:nvGrpSpPr>
        <p:grpSpPr bwMode="auto">
          <a:xfrm flipH="1">
            <a:off x="4899025" y="4179888"/>
            <a:ext cx="1476375" cy="1577975"/>
            <a:chOff x="7584142" y="1172016"/>
            <a:chExt cx="4100035" cy="4737539"/>
          </a:xfrm>
        </p:grpSpPr>
        <p:pic>
          <p:nvPicPr>
            <p:cNvPr id="45068" name="Image 28">
              <a:extLst>
                <a:ext uri="{FF2B5EF4-FFF2-40B4-BE49-F238E27FC236}">
                  <a16:creationId xmlns:a16="http://schemas.microsoft.com/office/drawing/2014/main" id="{C53624D1-BC99-4557-99CD-70E4EBE9260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806" r="29793"/>
            <a:stretch>
              <a:fillRect/>
            </a:stretch>
          </p:blipFill>
          <p:spPr bwMode="auto">
            <a:xfrm>
              <a:off x="7584142" y="1172016"/>
              <a:ext cx="4100035" cy="47375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976EF6F7-0CFB-40B3-BD39-ECA5BA10C65C}"/>
                </a:ext>
              </a:extLst>
            </p:cNvPr>
            <p:cNvSpPr/>
            <p:nvPr/>
          </p:nvSpPr>
          <p:spPr>
            <a:xfrm>
              <a:off x="9911904" y="4965860"/>
              <a:ext cx="136666" cy="285968"/>
            </a:xfrm>
            <a:prstGeom prst="rect">
              <a:avLst/>
            </a:prstGeom>
            <a:solidFill>
              <a:srgbClr val="6F6A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2000" dirty="0" err="1">
                <a:solidFill>
                  <a:srgbClr val="000000"/>
                </a:solidFill>
              </a:endParaRPr>
            </a:p>
          </p:txBody>
        </p:sp>
      </p:grpSp>
      <p:pic>
        <p:nvPicPr>
          <p:cNvPr id="45067" name="Image 3">
            <a:extLst>
              <a:ext uri="{FF2B5EF4-FFF2-40B4-BE49-F238E27FC236}">
                <a16:creationId xmlns:a16="http://schemas.microsoft.com/office/drawing/2014/main" id="{3A161D35-BA55-4C6E-A7E3-9589326644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10717">
            <a:off x="6750050" y="4800600"/>
            <a:ext cx="1711325" cy="900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Immagine 3">
            <a:extLst>
              <a:ext uri="{FF2B5EF4-FFF2-40B4-BE49-F238E27FC236}">
                <a16:creationId xmlns:a16="http://schemas.microsoft.com/office/drawing/2014/main" id="{7AFF5E2B-3356-475A-8DEF-01879F5B9908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71" t="-345" r="9590" b="15921"/>
          <a:stretch/>
        </p:blipFill>
        <p:spPr>
          <a:xfrm>
            <a:off x="3357927" y="3573017"/>
            <a:ext cx="493993" cy="432244"/>
          </a:xfrm>
          <a:prstGeom prst="rect">
            <a:avLst/>
          </a:prstGeom>
        </p:spPr>
      </p:pic>
      <p:pic>
        <p:nvPicPr>
          <p:cNvPr id="23" name="Immagine 12">
            <a:extLst>
              <a:ext uri="{FF2B5EF4-FFF2-40B4-BE49-F238E27FC236}">
                <a16:creationId xmlns:a16="http://schemas.microsoft.com/office/drawing/2014/main" id="{B92B2749-C68A-42AF-9245-50D76C0D1756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47" t="2365" r="4815"/>
          <a:stretch/>
        </p:blipFill>
        <p:spPr>
          <a:xfrm rot="5400000">
            <a:off x="3925076" y="3573707"/>
            <a:ext cx="432048" cy="430670"/>
          </a:xfrm>
          <a:prstGeom prst="rect">
            <a:avLst/>
          </a:prstGeom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SLIDE_COUNT" val="50"/>
  <p:tag name="ARTICULATE_PROJECT_OPEN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70</TotalTime>
  <Words>155</Words>
  <Application>Microsoft Office PowerPoint</Application>
  <PresentationFormat>On-screen Show (4:3)</PresentationFormat>
  <Paragraphs>3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MS PGothic</vt:lpstr>
      <vt:lpstr>宋体</vt:lpstr>
      <vt:lpstr>Arial</vt:lpstr>
      <vt:lpstr>Calibri</vt:lpstr>
      <vt:lpstr>Wingdings</vt:lpstr>
      <vt:lpstr>NewSidel_Template_4x3_with add layouts</vt:lpstr>
      <vt:lpstr>think-cell Folie</vt:lpstr>
      <vt:lpstr>Increase equipment efficiency and secure product quality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presentation Arial, 40 pt</dc:title>
  <dc:creator>Cardarelli, Francesca</dc:creator>
  <cp:lastModifiedBy>Sorega, Dan</cp:lastModifiedBy>
  <cp:revision>71</cp:revision>
  <cp:lastPrinted>2017-09-01T14:01:41Z</cp:lastPrinted>
  <dcterms:created xsi:type="dcterms:W3CDTF">2017-07-10T14:51:51Z</dcterms:created>
  <dcterms:modified xsi:type="dcterms:W3CDTF">2021-02-17T07:28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Ref">
    <vt:lpwstr>https://api.informationprotection.azure.com/api/2390cbd1-e663-4321-bc93-ba298637ce52</vt:lpwstr>
  </property>
  <property fmtid="{D5CDD505-2E9C-101B-9397-08002B2CF9AE}" pid="7" name="MSIP_Label_94480757-a570-4f64-84e7-c5b3ffe9d573_Owner">
    <vt:lpwstr>107200@sidel.com</vt:lpwstr>
  </property>
  <property fmtid="{D5CDD505-2E9C-101B-9397-08002B2CF9AE}" pid="8" name="MSIP_Label_94480757-a570-4f64-84e7-c5b3ffe9d573_SetDate">
    <vt:lpwstr>2019-06-26T15:49:55.8651607+02:00</vt:lpwstr>
  </property>
  <property fmtid="{D5CDD505-2E9C-101B-9397-08002B2CF9AE}" pid="9" name="MSIP_Label_94480757-a570-4f64-84e7-c5b3ffe9d573_Name">
    <vt:lpwstr>General</vt:lpwstr>
  </property>
  <property fmtid="{D5CDD505-2E9C-101B-9397-08002B2CF9AE}" pid="10" name="MSIP_Label_94480757-a570-4f64-84e7-c5b3ffe9d573_Application">
    <vt:lpwstr>Microsoft Azure Information Protection</vt:lpwstr>
  </property>
  <property fmtid="{D5CDD505-2E9C-101B-9397-08002B2CF9AE}" pid="11" name="MSIP_Label_94480757-a570-4f64-84e7-c5b3ffe9d573_Extended_MSFT_Method">
    <vt:lpwstr>Automatic</vt:lpwstr>
  </property>
  <property fmtid="{D5CDD505-2E9C-101B-9397-08002B2CF9AE}" pid="12" name="Sensitivity">
    <vt:lpwstr>General</vt:lpwstr>
  </property>
</Properties>
</file>